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7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CDEBE6"/>
    <a:srgbClr val="AADED5"/>
    <a:srgbClr val="C8EAE4"/>
    <a:srgbClr val="7F7F7F"/>
    <a:srgbClr val="D9D9D9"/>
    <a:srgbClr val="FF4848"/>
    <a:srgbClr val="F7F7F7"/>
    <a:srgbClr val="00859B"/>
    <a:srgbClr val="EFE41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65" autoAdjust="0"/>
    <p:restoredTop sz="98757" autoAdjust="0"/>
  </p:normalViewPr>
  <p:slideViewPr>
    <p:cSldViewPr snapToGrid="0">
      <p:cViewPr>
        <p:scale>
          <a:sx n="130" d="100"/>
          <a:sy n="130" d="100"/>
        </p:scale>
        <p:origin x="-450" y="24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5/30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5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ritai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s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877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rd Party Administration (</a:t>
            </a:r>
            <a:r>
              <a:rPr lang="en-US" dirty="0" err="1"/>
              <a:t>Meritain</a:t>
            </a:r>
            <a:r>
              <a:rPr lang="en-US" dirty="0"/>
              <a:t>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2715" y="1846557"/>
            <a:ext cx="2126128" cy="258488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6557"/>
            <a:ext cx="2237169" cy="258488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2715" y="4429957"/>
            <a:ext cx="5603285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18843" y="1846557"/>
            <a:ext cx="2348209" cy="12948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46558"/>
            <a:ext cx="2237169" cy="2583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6558"/>
            <a:ext cx="2237169" cy="12816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18843" y="3142695"/>
            <a:ext cx="2350427" cy="12872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128178"/>
            <a:ext cx="2237169" cy="13032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431438"/>
            <a:ext cx="5598851" cy="16243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cs typeface="Open Sans Light"/>
              </a:rPr>
              <a:t>Revenue Stream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15335" y="2248075"/>
            <a:ext cx="794770" cy="35811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Brokers 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2770169" y="3938989"/>
            <a:ext cx="929032" cy="38689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echnology infrastructure</a:t>
            </a: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5170173" y="3526775"/>
            <a:ext cx="1833395" cy="38529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Customizable service and administration package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7417614" y="3424000"/>
            <a:ext cx="587029" cy="36232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hone </a:t>
            </a:r>
          </a:p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Fax / IVR 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7794026" y="2744397"/>
            <a:ext cx="1075333" cy="31434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Member (1.3M)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9835744" y="2310094"/>
            <a:ext cx="1475117" cy="4822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lan sponsors</a:t>
            </a:r>
          </a:p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(for self-insured</a:t>
            </a:r>
          </a:p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employer groups)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9835744" y="2962580"/>
            <a:ext cx="1475117" cy="45367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Insurance companies</a:t>
            </a:r>
          </a:p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(for fully-insured</a:t>
            </a:r>
          </a:p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employer groups)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327648" y="4942235"/>
            <a:ext cx="1089967" cy="61603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Self-insured plan packages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2036953" y="4929514"/>
            <a:ext cx="1163780" cy="61166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IT infrastructure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3391672" y="4923069"/>
            <a:ext cx="1152476" cy="61166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American Health Holding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(Care management service)</a:t>
            </a:r>
          </a:p>
        </p:txBody>
      </p:sp>
      <p:sp>
        <p:nvSpPr>
          <p:cNvPr id="106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4703673" y="4942235"/>
            <a:ext cx="1152476" cy="61166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Vendor services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86965" y="4923069"/>
            <a:ext cx="1163780" cy="6245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Business operations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2760888" y="2191633"/>
            <a:ext cx="938313" cy="42054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Design Health and ancillary plans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2770170" y="3415373"/>
            <a:ext cx="929031" cy="420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HR of Service Operations, IT, Sales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74849" y="2792336"/>
            <a:ext cx="1735256" cy="30475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rovider network owners</a:t>
            </a:r>
          </a:p>
        </p:txBody>
      </p:sp>
      <p:sp>
        <p:nvSpPr>
          <p:cNvPr id="38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74849" y="3708806"/>
            <a:ext cx="1747372" cy="45089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Document &amp; Payment fulfilment vendors</a:t>
            </a: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86965" y="3281933"/>
            <a:ext cx="1759489" cy="26688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American Health Holding</a:t>
            </a: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0410438" y="4942235"/>
            <a:ext cx="1090285" cy="61603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Cost containment shared cost savings</a:t>
            </a:r>
          </a:p>
        </p:txBody>
      </p:sp>
      <p:sp>
        <p:nvSpPr>
          <p:cNvPr id="42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7587880" y="4942235"/>
            <a:ext cx="1090285" cy="61603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Fully-insured plan packages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36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2770169" y="2710963"/>
            <a:ext cx="929032" cy="38612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Manage / admin claims</a:t>
            </a:r>
            <a:endParaRPr lang="en-US" sz="1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5170174" y="2900963"/>
            <a:ext cx="1833395" cy="45089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Flexible multi carrier network offering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142571" y="2219424"/>
            <a:ext cx="860998" cy="49153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Service</a:t>
            </a:r>
          </a:p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discount negotiation 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5170174" y="2219425"/>
            <a:ext cx="864864" cy="49153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Cost containment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7417615" y="3934155"/>
            <a:ext cx="775410" cy="35104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Website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8097725" y="3417482"/>
            <a:ext cx="580440" cy="36232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e-mail / </a:t>
            </a:r>
          </a:p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e-pay 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8492947" y="3934155"/>
            <a:ext cx="804638" cy="3617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Face-to-face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3861088" y="3424000"/>
            <a:ext cx="929032" cy="38015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oftware and licenses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8424158" y="2252793"/>
            <a:ext cx="914079" cy="35638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roviders</a:t>
            </a:r>
          </a:p>
        </p:txBody>
      </p:sp>
      <p:sp>
        <p:nvSpPr>
          <p:cNvPr id="56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8756294" y="3423267"/>
            <a:ext cx="541291" cy="36232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Mail</a:t>
            </a:r>
          </a:p>
        </p:txBody>
      </p:sp>
      <p:sp>
        <p:nvSpPr>
          <p:cNvPr id="43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686965" y="2255788"/>
            <a:ext cx="794770" cy="35040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Advocacy partner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>
            <p:extLst>
              <p:ext uri="{D42A27DB-BD31-4B8C-83A1-F6EECF244321}">
                <p14:modId xmlns:p14="http://schemas.microsoft.com/office/powerpoint/2010/main" val="2892739833"/>
              </p:ext>
            </p:extLst>
          </p:nvPr>
        </p:nvSpPr>
        <p:spPr>
          <a:xfrm>
            <a:off x="8830564" y="4942235"/>
            <a:ext cx="1432661" cy="61603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27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Ancillary products </a:t>
            </a:r>
            <a:endParaRPr lang="en-US"/>
          </a:p>
          <a:p>
            <a:pPr marL="127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(Stop Loss, PBM, HSA, </a:t>
            </a:r>
            <a:r>
              <a:rPr lang="en-US" sz="900" b="1" dirty="0" err="1">
                <a:solidFill>
                  <a:schemeClr val="tx1"/>
                </a:solidFill>
              </a:rPr>
              <a:t>Out-of</a:t>
            </a:r>
            <a:r>
              <a:rPr lang="en-US" sz="900" b="1" dirty="0">
                <a:solidFill>
                  <a:schemeClr val="tx1"/>
                </a:solidFill>
              </a:rPr>
              <a:t> network savings)</a:t>
            </a:r>
            <a:endParaRPr lang="en-US" sz="900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3794056" y="2191634"/>
            <a:ext cx="1042452" cy="51933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Integrate and manage multi-carrier networks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3794056" y="2792335"/>
            <a:ext cx="1042452" cy="30169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BM services</a:t>
            </a:r>
            <a:endParaRPr lang="en-US" sz="1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7435434" y="2255788"/>
            <a:ext cx="896259" cy="35638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lan sponsors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3861088" y="3945724"/>
            <a:ext cx="929032" cy="38015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vider networks</a:t>
            </a:r>
          </a:p>
        </p:txBody>
      </p:sp>
    </p:spTree>
    <p:extLst>
      <p:ext uri="{BB962C8B-B14F-4D97-AF65-F5344CB8AC3E}">
        <p14:creationId xmlns:p14="http://schemas.microsoft.com/office/powerpoint/2010/main" val="99467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</ds:schemaRefs>
</ds:datastoreItem>
</file>

<file path=customXml/itemProps2.xml><?xml version="1.0" encoding="utf-8"?>
<ds:datastoreItem xmlns:ds="http://schemas.openxmlformats.org/officeDocument/2006/customXml" ds:itemID="{E313E067-1AF3-4EA9-8787-725B79A62428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23911</TotalTime>
  <Words>164</Words>
  <Application>Microsoft Office PowerPoint</Application>
  <PresentationFormat>Widescreen</PresentationFormat>
  <Paragraphs>59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Meritain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Shulan Lala Liu</cp:lastModifiedBy>
  <cp:revision>764</cp:revision>
  <cp:lastPrinted>2017-04-13T12:11:49Z</cp:lastPrinted>
  <dcterms:created xsi:type="dcterms:W3CDTF">2017-11-30T21:23:10Z</dcterms:created>
  <dcterms:modified xsi:type="dcterms:W3CDTF">2019-05-30T13:5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84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